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7"/>
  </p:notesMasterIdLst>
  <p:sldIdLst>
    <p:sldId id="1442" r:id="rId2"/>
    <p:sldId id="1512" r:id="rId3"/>
    <p:sldId id="1513" r:id="rId4"/>
    <p:sldId id="1515" r:id="rId5"/>
    <p:sldId id="148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112" d="100"/>
          <a:sy n="112" d="100"/>
        </p:scale>
        <p:origin x="558" y="96"/>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acquesM\Documents\Flatscreen%20Data\SAFEX\Prices\SAFEX%20Flatscreen.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ZA" sz="1600" b="1">
                <a:solidFill>
                  <a:schemeClr val="tx1"/>
                </a:solidFill>
                <a:latin typeface="Century Gothic" panose="020B0502020202020204" pitchFamily="34" charset="0"/>
              </a:rPr>
              <a:t>Monthly</a:t>
            </a:r>
            <a:r>
              <a:rPr lang="en-ZA" sz="1600" b="1" baseline="0">
                <a:solidFill>
                  <a:schemeClr val="tx1"/>
                </a:solidFill>
                <a:latin typeface="Century Gothic" panose="020B0502020202020204" pitchFamily="34" charset="0"/>
              </a:rPr>
              <a:t> Average Movement  (R/t)</a:t>
            </a:r>
            <a:endParaRPr lang="en-ZA" sz="1600" b="1">
              <a:solidFill>
                <a:schemeClr val="tx1"/>
              </a:solidFill>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ZA"/>
        </a:p>
      </c:txPr>
    </c:title>
    <c:autoTitleDeleted val="0"/>
    <c:plotArea>
      <c:layout>
        <c:manualLayout>
          <c:layoutTarget val="inner"/>
          <c:xMode val="edge"/>
          <c:yMode val="edge"/>
          <c:x val="6.4871296003911547E-2"/>
          <c:y val="0.11175893212818694"/>
          <c:w val="0.90235595712243588"/>
          <c:h val="0.83101053356341092"/>
        </c:manualLayout>
      </c:layout>
      <c:lineChart>
        <c:grouping val="standard"/>
        <c:varyColors val="0"/>
        <c:ser>
          <c:idx val="0"/>
          <c:order val="0"/>
          <c:tx>
            <c:strRef>
              <c:f>Sheet1!$A$3</c:f>
              <c:strCache>
                <c:ptCount val="1"/>
                <c:pt idx="0">
                  <c:v>White Maiz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B$2:$N$2</c:f>
              <c:strCache>
                <c:ptCount val="13"/>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strCache>
            </c:strRef>
          </c:cat>
          <c:val>
            <c:numRef>
              <c:f>Sheet1!$B$3:$N$3</c:f>
              <c:numCache>
                <c:formatCode>General</c:formatCode>
                <c:ptCount val="13"/>
                <c:pt idx="0">
                  <c:v>6831.82</c:v>
                </c:pt>
                <c:pt idx="1">
                  <c:v>5727.43</c:v>
                </c:pt>
                <c:pt idx="2">
                  <c:v>5540.6</c:v>
                </c:pt>
                <c:pt idx="3">
                  <c:v>5221.71</c:v>
                </c:pt>
                <c:pt idx="4">
                  <c:v>4853.71</c:v>
                </c:pt>
                <c:pt idx="5">
                  <c:v>4618.33</c:v>
                </c:pt>
                <c:pt idx="6">
                  <c:v>4195</c:v>
                </c:pt>
                <c:pt idx="7">
                  <c:v>4250</c:v>
                </c:pt>
                <c:pt idx="8" formatCode="0">
                  <c:v>3986.11333333333</c:v>
                </c:pt>
                <c:pt idx="9">
                  <c:v>3500</c:v>
                </c:pt>
                <c:pt idx="10">
                  <c:v>3787</c:v>
                </c:pt>
                <c:pt idx="11">
                  <c:v>3650</c:v>
                </c:pt>
                <c:pt idx="12">
                  <c:v>3600</c:v>
                </c:pt>
              </c:numCache>
            </c:numRef>
          </c:val>
          <c:smooth val="0"/>
          <c:extLst>
            <c:ext xmlns:c16="http://schemas.microsoft.com/office/drawing/2014/chart" uri="{C3380CC4-5D6E-409C-BE32-E72D297353CC}">
              <c16:uniqueId val="{00000000-432F-4529-BC1C-70AE1EFA726E}"/>
            </c:ext>
          </c:extLst>
        </c:ser>
        <c:ser>
          <c:idx val="1"/>
          <c:order val="1"/>
          <c:tx>
            <c:strRef>
              <c:f>Sheet1!$A$4</c:f>
              <c:strCache>
                <c:ptCount val="1"/>
                <c:pt idx="0">
                  <c:v>Yellow Maiz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B$2:$N$2</c:f>
              <c:strCache>
                <c:ptCount val="13"/>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strCache>
            </c:strRef>
          </c:cat>
          <c:val>
            <c:numRef>
              <c:f>Sheet1!$B$4:$N$4</c:f>
              <c:numCache>
                <c:formatCode>General</c:formatCode>
                <c:ptCount val="13"/>
                <c:pt idx="0">
                  <c:v>5594.18</c:v>
                </c:pt>
                <c:pt idx="1">
                  <c:v>5141.57</c:v>
                </c:pt>
                <c:pt idx="2">
                  <c:v>4852.7299999999996</c:v>
                </c:pt>
                <c:pt idx="3">
                  <c:v>4801.6400000000003</c:v>
                </c:pt>
                <c:pt idx="4">
                  <c:v>4234.1899999999996</c:v>
                </c:pt>
                <c:pt idx="5">
                  <c:v>4208.3900000000003</c:v>
                </c:pt>
                <c:pt idx="6">
                  <c:v>4050</c:v>
                </c:pt>
                <c:pt idx="7">
                  <c:v>3845</c:v>
                </c:pt>
                <c:pt idx="8" formatCode="0">
                  <c:v>3671.0733333333301</c:v>
                </c:pt>
                <c:pt idx="9">
                  <c:v>3476</c:v>
                </c:pt>
                <c:pt idx="10">
                  <c:v>3600</c:v>
                </c:pt>
                <c:pt idx="11">
                  <c:v>3595</c:v>
                </c:pt>
                <c:pt idx="12">
                  <c:v>3461</c:v>
                </c:pt>
              </c:numCache>
            </c:numRef>
          </c:val>
          <c:smooth val="0"/>
          <c:extLst>
            <c:ext xmlns:c16="http://schemas.microsoft.com/office/drawing/2014/chart" uri="{C3380CC4-5D6E-409C-BE32-E72D297353CC}">
              <c16:uniqueId val="{00000001-432F-4529-BC1C-70AE1EFA726E}"/>
            </c:ext>
          </c:extLst>
        </c:ser>
        <c:ser>
          <c:idx val="2"/>
          <c:order val="2"/>
          <c:tx>
            <c:strRef>
              <c:f>Sheet1!$A$5</c:f>
              <c:strCache>
                <c:ptCount val="1"/>
                <c:pt idx="0">
                  <c:v>Wheat</c:v>
                </c:pt>
              </c:strCache>
            </c:strRef>
          </c:tx>
          <c:spPr>
            <a:ln w="28575" cap="rnd">
              <a:solidFill>
                <a:srgbClr val="FFC000"/>
              </a:solidFill>
              <a:round/>
            </a:ln>
            <a:effectLst/>
          </c:spPr>
          <c:marker>
            <c:symbol val="circle"/>
            <c:size val="5"/>
            <c:spPr>
              <a:solidFill>
                <a:srgbClr val="FFC000"/>
              </a:solidFill>
              <a:ln w="9525">
                <a:solidFill>
                  <a:schemeClr val="accent3"/>
                </a:solidFill>
              </a:ln>
              <a:effectLst/>
            </c:spPr>
          </c:marker>
          <c:cat>
            <c:strRef>
              <c:f>Sheet1!$B$2:$N$2</c:f>
              <c:strCache>
                <c:ptCount val="13"/>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strCache>
            </c:strRef>
          </c:cat>
          <c:val>
            <c:numRef>
              <c:f>Sheet1!$B$5:$N$5</c:f>
              <c:numCache>
                <c:formatCode>#,##0.00</c:formatCode>
                <c:ptCount val="13"/>
                <c:pt idx="0">
                  <c:v>6047.29</c:v>
                </c:pt>
                <c:pt idx="1">
                  <c:v>5990.93</c:v>
                </c:pt>
                <c:pt idx="2">
                  <c:v>6150.8</c:v>
                </c:pt>
                <c:pt idx="3">
                  <c:v>6273.5</c:v>
                </c:pt>
                <c:pt idx="4">
                  <c:v>6418.5</c:v>
                </c:pt>
                <c:pt idx="5">
                  <c:v>6397.4</c:v>
                </c:pt>
                <c:pt idx="6" formatCode="General">
                  <c:v>6389</c:v>
                </c:pt>
                <c:pt idx="7" formatCode="General">
                  <c:v>6514</c:v>
                </c:pt>
                <c:pt idx="8" formatCode="0">
                  <c:v>6550.0666666666702</c:v>
                </c:pt>
                <c:pt idx="9" formatCode="General">
                  <c:v>5947</c:v>
                </c:pt>
                <c:pt idx="10" formatCode="General">
                  <c:v>5853.8</c:v>
                </c:pt>
                <c:pt idx="11" formatCode="General">
                  <c:v>5638</c:v>
                </c:pt>
                <c:pt idx="12" formatCode="General">
                  <c:v>5818</c:v>
                </c:pt>
              </c:numCache>
            </c:numRef>
          </c:val>
          <c:smooth val="0"/>
          <c:extLst>
            <c:ext xmlns:c16="http://schemas.microsoft.com/office/drawing/2014/chart" uri="{C3380CC4-5D6E-409C-BE32-E72D297353CC}">
              <c16:uniqueId val="{00000002-432F-4529-BC1C-70AE1EFA726E}"/>
            </c:ext>
          </c:extLst>
        </c:ser>
        <c:ser>
          <c:idx val="4"/>
          <c:order val="3"/>
          <c:tx>
            <c:strRef>
              <c:f>Sheet1!$A$6</c:f>
              <c:strCache>
                <c:ptCount val="1"/>
                <c:pt idx="0">
                  <c:v>Sunflower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Sheet1!$B$2:$N$2</c:f>
              <c:strCache>
                <c:ptCount val="13"/>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strCache>
            </c:strRef>
          </c:cat>
          <c:val>
            <c:numRef>
              <c:f>Sheet1!$B$6:$N$6</c:f>
              <c:numCache>
                <c:formatCode>#,##0.00</c:formatCode>
                <c:ptCount val="13"/>
                <c:pt idx="0">
                  <c:v>10089.94</c:v>
                </c:pt>
                <c:pt idx="1">
                  <c:v>9660.73</c:v>
                </c:pt>
                <c:pt idx="2">
                  <c:v>8821.93</c:v>
                </c:pt>
                <c:pt idx="3">
                  <c:v>8836.86</c:v>
                </c:pt>
                <c:pt idx="4">
                  <c:v>8888.1299999999992</c:v>
                </c:pt>
                <c:pt idx="5">
                  <c:v>9165.33</c:v>
                </c:pt>
                <c:pt idx="6" formatCode="General">
                  <c:v>9391</c:v>
                </c:pt>
                <c:pt idx="7">
                  <c:v>9907</c:v>
                </c:pt>
                <c:pt idx="8" formatCode="0">
                  <c:v>10229</c:v>
                </c:pt>
                <c:pt idx="9">
                  <c:v>10150</c:v>
                </c:pt>
                <c:pt idx="10">
                  <c:v>10153</c:v>
                </c:pt>
                <c:pt idx="11">
                  <c:v>10299.799999999999</c:v>
                </c:pt>
                <c:pt idx="12">
                  <c:v>12000</c:v>
                </c:pt>
              </c:numCache>
            </c:numRef>
          </c:val>
          <c:smooth val="0"/>
          <c:extLst>
            <c:ext xmlns:c16="http://schemas.microsoft.com/office/drawing/2014/chart" uri="{C3380CC4-5D6E-409C-BE32-E72D297353CC}">
              <c16:uniqueId val="{00000003-432F-4529-BC1C-70AE1EFA726E}"/>
            </c:ext>
          </c:extLst>
        </c:ser>
        <c:dLbls>
          <c:showLegendKey val="0"/>
          <c:showVal val="0"/>
          <c:showCatName val="0"/>
          <c:showSerName val="0"/>
          <c:showPercent val="0"/>
          <c:showBubbleSize val="0"/>
        </c:dLbls>
        <c:marker val="1"/>
        <c:smooth val="0"/>
        <c:axId val="1682248575"/>
        <c:axId val="1682248095"/>
      </c:lineChart>
      <c:catAx>
        <c:axId val="1682248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2248095"/>
        <c:crosses val="autoZero"/>
        <c:auto val="1"/>
        <c:lblAlgn val="ctr"/>
        <c:lblOffset val="100"/>
        <c:noMultiLvlLbl val="0"/>
      </c:catAx>
      <c:valAx>
        <c:axId val="1682248095"/>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0_);_(&quot;R&quot;* \(#,##0\);_(&quot;R&quot;* &quot;-&quot;_);_(@_)"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682248575"/>
        <c:crosses val="autoZero"/>
        <c:crossBetween val="between"/>
      </c:valAx>
      <c:spPr>
        <a:noFill/>
        <a:ln>
          <a:noFill/>
        </a:ln>
        <a:effectLst/>
      </c:spPr>
    </c:plotArea>
    <c:legend>
      <c:legendPos val="b"/>
      <c:layout>
        <c:manualLayout>
          <c:xMode val="edge"/>
          <c:yMode val="edge"/>
          <c:x val="8.1295969957183592E-2"/>
          <c:y val="0.84067762911426913"/>
          <c:w val="0.91157796090495147"/>
          <c:h val="7.194008370003604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1/15/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sagis.org.za/"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044656"/>
            <a:ext cx="10945216" cy="2354642"/>
          </a:xfrm>
        </p:spPr>
        <p:txBody>
          <a:bodyPr>
            <a:normAutofit/>
          </a:bodyPr>
          <a:lstStyle/>
          <a:p>
            <a:r>
              <a:rPr lang="en-US" sz="3600" dirty="0"/>
              <a:t>Monthly report SAFEX average prices</a:t>
            </a:r>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December 2025</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Department of Agriculture</a:t>
            </a:r>
          </a:p>
        </p:txBody>
      </p:sp>
    </p:spTree>
    <p:extLst>
      <p:ext uri="{BB962C8B-B14F-4D97-AF65-F5344CB8AC3E}">
        <p14:creationId xmlns:p14="http://schemas.microsoft.com/office/powerpoint/2010/main" val="1909661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416B4C9-6B1A-4718-591A-2F8973258789}"/>
              </a:ext>
            </a:extLst>
          </p:cNvPr>
          <p:cNvSpPr>
            <a:spLocks noGrp="1"/>
          </p:cNvSpPr>
          <p:nvPr>
            <p:ph type="title"/>
          </p:nvPr>
        </p:nvSpPr>
        <p:spPr/>
        <p:txBody>
          <a:bodyPr/>
          <a:lstStyle/>
          <a:p>
            <a:r>
              <a:rPr lang="en-US" dirty="0"/>
              <a:t>INDEMNITY</a:t>
            </a:r>
            <a:endParaRPr lang="en-ZA" dirty="0"/>
          </a:p>
        </p:txBody>
      </p:sp>
      <p:sp>
        <p:nvSpPr>
          <p:cNvPr id="11" name="Text Placeholder 10">
            <a:extLst>
              <a:ext uri="{FF2B5EF4-FFF2-40B4-BE49-F238E27FC236}">
                <a16:creationId xmlns:a16="http://schemas.microsoft.com/office/drawing/2014/main" id="{25BCE773-7CE3-EDA7-92BC-972E142C61F8}"/>
              </a:ext>
            </a:extLst>
          </p:cNvPr>
          <p:cNvSpPr>
            <a:spLocks noGrp="1"/>
          </p:cNvSpPr>
          <p:nvPr>
            <p:ph type="body" sz="quarter" idx="10"/>
          </p:nvPr>
        </p:nvSpPr>
        <p:spPr>
          <a:xfrm>
            <a:off x="2281727" y="2008262"/>
            <a:ext cx="8024501" cy="4084564"/>
          </a:xfrm>
        </p:spPr>
        <p:txBody>
          <a:bodyPr/>
          <a:lstStyle/>
          <a:p>
            <a:pPr algn="just">
              <a:lnSpc>
                <a:spcPct val="150000"/>
              </a:lnSpc>
            </a:pPr>
            <a:r>
              <a:rPr lang="en-US" dirty="0">
                <a:solidFill>
                  <a:schemeClr val="bg1">
                    <a:lumMod val="50000"/>
                  </a:schemeClr>
                </a:solidFill>
              </a:rPr>
              <a:t>The Western Cape Department of Agriculture prepared this data/information as accurately as possible. However, as this document contains data from various sources, its correctness cannot be guaranteed. Any person using this information will be doing so at own risk and the said organisation or any other party will under no circumstances be responsible for any loss suffered by any person/organisation using the information contained in this document.</a:t>
            </a:r>
            <a:endParaRPr lang="en-ZA" dirty="0">
              <a:solidFill>
                <a:schemeClr val="bg1">
                  <a:lumMod val="50000"/>
                </a:schemeClr>
              </a:solidFill>
            </a:endParaRPr>
          </a:p>
        </p:txBody>
      </p:sp>
    </p:spTree>
    <p:extLst>
      <p:ext uri="{BB962C8B-B14F-4D97-AF65-F5344CB8AC3E}">
        <p14:creationId xmlns:p14="http://schemas.microsoft.com/office/powerpoint/2010/main" val="631091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BC52C-D347-0304-4DFE-854F7FE491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08A0EE1-472C-9137-1FE8-3703E68AE027}"/>
              </a:ext>
            </a:extLst>
          </p:cNvPr>
          <p:cNvSpPr>
            <a:spLocks noGrp="1"/>
          </p:cNvSpPr>
          <p:nvPr>
            <p:ph type="title"/>
          </p:nvPr>
        </p:nvSpPr>
        <p:spPr/>
        <p:txBody>
          <a:bodyPr/>
          <a:lstStyle/>
          <a:p>
            <a:r>
              <a:rPr lang="en-US" dirty="0"/>
              <a:t>SAFEX Average Monthly Movement</a:t>
            </a:r>
            <a:endParaRPr lang="en-ZA" dirty="0"/>
          </a:p>
        </p:txBody>
      </p:sp>
      <p:graphicFrame>
        <p:nvGraphicFramePr>
          <p:cNvPr id="3" name="Chart 2">
            <a:extLst>
              <a:ext uri="{FF2B5EF4-FFF2-40B4-BE49-F238E27FC236}">
                <a16:creationId xmlns:a16="http://schemas.microsoft.com/office/drawing/2014/main" id="{C6B59395-E9F1-8E3B-B4F2-1B2B644BC1C5}"/>
              </a:ext>
            </a:extLst>
          </p:cNvPr>
          <p:cNvGraphicFramePr>
            <a:graphicFrameLocks/>
          </p:cNvGraphicFramePr>
          <p:nvPr/>
        </p:nvGraphicFramePr>
        <p:xfrm>
          <a:off x="2414587" y="1321593"/>
          <a:ext cx="7362825" cy="42148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298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ADE9C-231F-61E2-76C4-DED7ECFCB7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C991E5E-4AF0-C443-3BF7-AE5DFC587BC7}"/>
              </a:ext>
            </a:extLst>
          </p:cNvPr>
          <p:cNvSpPr>
            <a:spLocks noGrp="1"/>
          </p:cNvSpPr>
          <p:nvPr>
            <p:ph type="title"/>
          </p:nvPr>
        </p:nvSpPr>
        <p:spPr/>
        <p:txBody>
          <a:bodyPr/>
          <a:lstStyle/>
          <a:p>
            <a:r>
              <a:rPr lang="en-US" dirty="0"/>
              <a:t>SOURCE</a:t>
            </a:r>
            <a:endParaRPr lang="en-ZA" dirty="0"/>
          </a:p>
        </p:txBody>
      </p:sp>
      <p:sp>
        <p:nvSpPr>
          <p:cNvPr id="11" name="Text Placeholder 10">
            <a:extLst>
              <a:ext uri="{FF2B5EF4-FFF2-40B4-BE49-F238E27FC236}">
                <a16:creationId xmlns:a16="http://schemas.microsoft.com/office/drawing/2014/main" id="{C6DA2236-559B-3C0C-49A7-EA3DEA999FCE}"/>
              </a:ext>
            </a:extLst>
          </p:cNvPr>
          <p:cNvSpPr>
            <a:spLocks noGrp="1"/>
          </p:cNvSpPr>
          <p:nvPr>
            <p:ph type="body" sz="quarter" idx="10"/>
          </p:nvPr>
        </p:nvSpPr>
        <p:spPr/>
        <p:txBody>
          <a:bodyPr/>
          <a:lstStyle/>
          <a:p>
            <a:r>
              <a:rPr lang="en-US" dirty="0"/>
              <a:t>DATA SUPPLIED BY:  </a:t>
            </a:r>
            <a:r>
              <a:rPr lang="en-US" dirty="0">
                <a:hlinkClick r:id="rId2"/>
              </a:rPr>
              <a:t>https://www.sagis.org.za/</a:t>
            </a:r>
            <a:endParaRPr lang="en-US" dirty="0"/>
          </a:p>
          <a:p>
            <a:endParaRPr lang="en-US" dirty="0"/>
          </a:p>
          <a:p>
            <a:endParaRPr lang="en-US" dirty="0"/>
          </a:p>
          <a:p>
            <a:endParaRPr lang="en-US"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p:txBody>
      </p:sp>
      <p:pic>
        <p:nvPicPr>
          <p:cNvPr id="3" name="Picture 2">
            <a:extLst>
              <a:ext uri="{FF2B5EF4-FFF2-40B4-BE49-F238E27FC236}">
                <a16:creationId xmlns:a16="http://schemas.microsoft.com/office/drawing/2014/main" id="{ABF6CDAB-173B-29EE-D2E0-468BD46873B9}"/>
              </a:ext>
            </a:extLst>
          </p:cNvPr>
          <p:cNvPicPr>
            <a:picLocks noChangeAspect="1"/>
          </p:cNvPicPr>
          <p:nvPr/>
        </p:nvPicPr>
        <p:blipFill>
          <a:blip r:embed="rId3"/>
          <a:stretch>
            <a:fillRect/>
          </a:stretch>
        </p:blipFill>
        <p:spPr>
          <a:xfrm>
            <a:off x="5314950" y="3062287"/>
            <a:ext cx="1562100" cy="733425"/>
          </a:xfrm>
          <a:prstGeom prst="rect">
            <a:avLst/>
          </a:prstGeom>
        </p:spPr>
      </p:pic>
    </p:spTree>
    <p:extLst>
      <p:ext uri="{BB962C8B-B14F-4D97-AF65-F5344CB8AC3E}">
        <p14:creationId xmlns:p14="http://schemas.microsoft.com/office/powerpoint/2010/main" val="2719191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J Murdoch</a:t>
            </a:r>
          </a:p>
        </p:txBody>
      </p:sp>
    </p:spTree>
    <p:extLst>
      <p:ext uri="{BB962C8B-B14F-4D97-AF65-F5344CB8AC3E}">
        <p14:creationId xmlns:p14="http://schemas.microsoft.com/office/powerpoint/2010/main" val="2767394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377</TotalTime>
  <Words>116</Words>
  <Application>Microsoft Office PowerPoint</Application>
  <PresentationFormat>Widescreen</PresentationFormat>
  <Paragraphs>21</Paragraphs>
  <Slides>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Century Gothic</vt:lpstr>
      <vt:lpstr>WCG-PPT Master-121022-amc</vt:lpstr>
      <vt:lpstr>think-cell Slide</vt:lpstr>
      <vt:lpstr>PowerPoint Presentation</vt:lpstr>
      <vt:lpstr>INDEMNITY</vt:lpstr>
      <vt:lpstr>SAFEX Average Monthly Movement</vt:lpstr>
      <vt:lpstr>SOURCE</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Murdoch, Jacques</cp:lastModifiedBy>
  <cp:revision>1520</cp:revision>
  <cp:lastPrinted>2019-01-28T07:09:01Z</cp:lastPrinted>
  <dcterms:created xsi:type="dcterms:W3CDTF">2017-01-19T08:56:34Z</dcterms:created>
  <dcterms:modified xsi:type="dcterms:W3CDTF">2026-01-15T08:08:32Z</dcterms:modified>
</cp:coreProperties>
</file>